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5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BE3081-82CC-0B58-806C-BEF9860259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1FBBA7-2EF6-643F-F663-F7EFFE178F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38E9918-9225-289E-DD03-4094599402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9F8C5D-67DC-9DDA-D6B9-A189C87FF5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8F9D5-63B9-4088-A0EA-655CDC6DDC5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6947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B74127-A92A-F8BF-6BA4-FEB8A306C2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Title 178">
            <a:extLst>
              <a:ext uri="{FF2B5EF4-FFF2-40B4-BE49-F238E27FC236}">
                <a16:creationId xmlns:a16="http://schemas.microsoft.com/office/drawing/2014/main" id="{64C6F950-3966-FE52-7490-E1AB78EB7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5"/>
          </a:xfrm>
        </p:spPr>
        <p:txBody>
          <a:bodyPr/>
          <a:lstStyle/>
          <a:p>
            <a:r>
              <a:rPr lang="en-US" dirty="0"/>
              <a:t>Two-Column Layou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68F953D-795F-77D4-8D1E-7D122BBF48E6}"/>
              </a:ext>
            </a:extLst>
          </p:cNvPr>
          <p:cNvSpPr/>
          <p:nvPr/>
        </p:nvSpPr>
        <p:spPr>
          <a:xfrm>
            <a:off x="714376" y="1889656"/>
            <a:ext cx="8201024" cy="52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r>
              <a:rPr lang="en-US" sz="2000" b="1" dirty="0"/>
              <a:t>Heading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A88D982-A2EE-9EE1-BBC2-7787B6BF5FC2}"/>
              </a:ext>
            </a:extLst>
          </p:cNvPr>
          <p:cNvSpPr/>
          <p:nvPr/>
        </p:nvSpPr>
        <p:spPr>
          <a:xfrm>
            <a:off x="714376" y="2411655"/>
            <a:ext cx="8201024" cy="6824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sce aliquet pede non pede. Suspendisse dapibus lorem pellentesque magna. Integer null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nec blandit feugiat ligula. Donec hendrerit, felis et imperdiet euismod, purus ipsum pretium metus, in lacinia nulla nisl eget sapien. Donec ut est in lectus consequat consequat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iam eget dui. Aliquam erat volutpat. Sed at lorem in nunc porta tristique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DCBD9B-424B-2159-0C63-3D206539D2D1}"/>
              </a:ext>
            </a:extLst>
          </p:cNvPr>
          <p:cNvSpPr/>
          <p:nvPr/>
        </p:nvSpPr>
        <p:spPr>
          <a:xfrm>
            <a:off x="9372600" y="1889656"/>
            <a:ext cx="8201024" cy="52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r>
              <a:rPr lang="en-US" sz="2000" b="1" dirty="0"/>
              <a:t>Head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B521ED-12CE-0F4E-71D8-DE0889084209}"/>
              </a:ext>
            </a:extLst>
          </p:cNvPr>
          <p:cNvSpPr/>
          <p:nvPr/>
        </p:nvSpPr>
        <p:spPr>
          <a:xfrm>
            <a:off x="9372600" y="2411655"/>
            <a:ext cx="8201024" cy="6824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sce aliquet pede non pede. Suspendisse dapibus lorem pellentesque magna. Integer null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nec blandit feugiat ligula. Donec hendrerit, felis et imperdiet euismod, purus ipsum pretium metus, in lacinia nulla nisl eget sapien. Donec ut est in lectus consequat consequat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iam eget dui. Aliquam erat volutpat. Sed at lorem in nunc porta tristique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DE39AB-A245-4A8E-92F6-4917B7E62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593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12</TotalTime>
  <Words>352</Words>
  <Application>Microsoft Office PowerPoint</Application>
  <PresentationFormat>Custom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Two-Column Layo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18</cp:revision>
  <dcterms:created xsi:type="dcterms:W3CDTF">2006-08-16T00:00:00Z</dcterms:created>
  <dcterms:modified xsi:type="dcterms:W3CDTF">2025-10-06T09:15:36Z</dcterms:modified>
  <cp:category/>
  <dc:identifier>DAGkDf5R9EM</dc:identifier>
</cp:coreProperties>
</file>